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337" r:id="rId2"/>
    <p:sldId id="360" r:id="rId3"/>
    <p:sldId id="361" r:id="rId4"/>
    <p:sldId id="362" r:id="rId5"/>
    <p:sldId id="359" r:id="rId6"/>
  </p:sldIdLst>
  <p:sldSz cx="12195175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935" userDrawn="1">
          <p15:clr>
            <a:srgbClr val="A4A3A4"/>
          </p15:clr>
        </p15:guide>
        <p15:guide id="2" orient="horz" pos="339" userDrawn="1">
          <p15:clr>
            <a:srgbClr val="A4A3A4"/>
          </p15:clr>
        </p15:guide>
        <p15:guide id="5" pos="5151" userDrawn="1">
          <p15:clr>
            <a:srgbClr val="A4A3A4"/>
          </p15:clr>
        </p15:guide>
        <p15:guide id="7" pos="7343" userDrawn="1">
          <p15:clr>
            <a:srgbClr val="A4A3A4"/>
          </p15:clr>
        </p15:guide>
        <p15:guide id="8" pos="3807" userDrawn="1">
          <p15:clr>
            <a:srgbClr val="A4A3A4"/>
          </p15:clr>
        </p15:guide>
        <p15:guide id="9" pos="3989" userDrawn="1">
          <p15:clr>
            <a:srgbClr val="A4A3A4"/>
          </p15:clr>
        </p15:guide>
        <p15:guide id="10" pos="4971" userDrawn="1">
          <p15:clr>
            <a:srgbClr val="A4A3A4"/>
          </p15:clr>
        </p15:guide>
        <p15:guide id="11" pos="453" userDrawn="1">
          <p15:clr>
            <a:srgbClr val="A4A3A4"/>
          </p15:clr>
        </p15:guide>
        <p15:guide id="12" pos="2643" userDrawn="1">
          <p15:clr>
            <a:srgbClr val="A4A3A4"/>
          </p15:clr>
        </p15:guide>
        <p15:guide id="13" pos="1481" userDrawn="1">
          <p15:clr>
            <a:srgbClr val="A4A3A4"/>
          </p15:clr>
        </p15:guide>
        <p15:guide id="14" pos="1661" userDrawn="1">
          <p15:clr>
            <a:srgbClr val="A4A3A4"/>
          </p15:clr>
        </p15:guide>
        <p15:guide id="15" pos="2825" userDrawn="1">
          <p15:clr>
            <a:srgbClr val="A4A3A4"/>
          </p15:clr>
        </p15:guide>
        <p15:guide id="16" pos="6134" userDrawn="1">
          <p15:clr>
            <a:srgbClr val="A4A3A4"/>
          </p15:clr>
        </p15:guide>
        <p15:guide id="17" pos="6315" userDrawn="1">
          <p15:clr>
            <a:srgbClr val="A4A3A4"/>
          </p15:clr>
        </p15:guide>
        <p15:guide id="18" orient="horz" pos="4049" userDrawn="1">
          <p15:clr>
            <a:srgbClr val="A4A3A4"/>
          </p15:clr>
        </p15:guide>
        <p15:guide id="19" orient="horz" pos="1214" userDrawn="1">
          <p15:clr>
            <a:srgbClr val="A4A3A4"/>
          </p15:clr>
        </p15:guide>
        <p15:guide id="20" orient="horz" pos="1172" userDrawn="1">
          <p15:clr>
            <a:srgbClr val="A4A3A4"/>
          </p15:clr>
        </p15:guide>
        <p15:guide id="21" orient="horz" pos="300" userDrawn="1">
          <p15:clr>
            <a:srgbClr val="A4A3A4"/>
          </p15:clr>
        </p15:guide>
        <p15:guide id="22" orient="horz" pos="16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889" autoAdjust="0"/>
    <p:restoredTop sz="94223" autoAdjust="0"/>
  </p:normalViewPr>
  <p:slideViewPr>
    <p:cSldViewPr snapToGrid="0" snapToObjects="1">
      <p:cViewPr>
        <p:scale>
          <a:sx n="75" d="100"/>
          <a:sy n="75" d="100"/>
        </p:scale>
        <p:origin x="-2190" y="-1302"/>
      </p:cViewPr>
      <p:guideLst>
        <p:guide orient="horz" pos="3935"/>
        <p:guide orient="horz" pos="339"/>
        <p:guide orient="horz" pos="4049"/>
        <p:guide orient="horz" pos="1214"/>
        <p:guide orient="horz" pos="1172"/>
        <p:guide orient="horz" pos="300"/>
        <p:guide orient="horz" pos="1616"/>
        <p:guide pos="5151"/>
        <p:guide pos="7343"/>
        <p:guide pos="3807"/>
        <p:guide pos="3989"/>
        <p:guide pos="4971"/>
        <p:guide pos="453"/>
        <p:guide pos="2643"/>
        <p:guide pos="1481"/>
        <p:guide pos="1661"/>
        <p:guide pos="2825"/>
        <p:guide pos="6134"/>
        <p:guide pos="631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4026"/>
    </p:cViewPr>
  </p:sorterViewPr>
  <p:notesViewPr>
    <p:cSldViewPr snapToGrid="0" snapToObjects="1" showGuides="1">
      <p:cViewPr varScale="1">
        <p:scale>
          <a:sx n="99" d="100"/>
          <a:sy n="99" d="100"/>
        </p:scale>
        <p:origin x="-3576" y="-84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AE4103-BFE8-4854-BB08-EA2ACE6510D3}" type="datetimeFigureOut">
              <a:rPr lang="en-GB" smtClean="0"/>
              <a:t>12/07/2018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0EA6F-5824-4AA2-863E-2A404F89D13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02147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74D79A-AB0F-436E-A6F9-242DD31A91CA}" type="datetimeFigureOut">
              <a:rPr lang="de-DE" smtClean="0"/>
              <a:t>2018-07-1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6C20F7-6E4E-4233-92A4-093B2FB28AE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2354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w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720000" y="2844000"/>
            <a:ext cx="9018000" cy="1836000"/>
          </a:xfrm>
        </p:spPr>
        <p:txBody>
          <a:bodyPr/>
          <a:lstStyle>
            <a:lvl1pPr algn="l">
              <a:lnSpc>
                <a:spcPts val="4400"/>
              </a:lnSpc>
              <a:defRPr sz="4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0" y="5000400"/>
            <a:ext cx="9018000" cy="288000"/>
          </a:xfrm>
        </p:spPr>
        <p:txBody>
          <a:bodyPr/>
          <a:lstStyle>
            <a:lvl1pPr marL="0" indent="0" algn="l">
              <a:spcBef>
                <a:spcPts val="90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 oder Vortragender  |  YYYY-MM-DD  |  Schutzklasse 0 bis 3</a:t>
            </a:r>
            <a:endParaRPr lang="de-DE" dirty="0"/>
          </a:p>
        </p:txBody>
      </p:sp>
      <p:pic>
        <p:nvPicPr>
          <p:cNvPr id="10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200" y="525012"/>
            <a:ext cx="1620000" cy="376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 userDrawn="1"/>
        </p:nvSpPr>
        <p:spPr>
          <a:xfrm>
            <a:off x="720000" y="482400"/>
            <a:ext cx="1444240" cy="2576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650" dirty="0" smtClean="0">
                <a:solidFill>
                  <a:schemeClr val="accent2"/>
                </a:solidFill>
              </a:rPr>
              <a:t>voith.com</a:t>
            </a:r>
          </a:p>
        </p:txBody>
      </p:sp>
    </p:spTree>
    <p:extLst>
      <p:ext uri="{BB962C8B-B14F-4D97-AF65-F5344CB8AC3E}">
        <p14:creationId xmlns:p14="http://schemas.microsoft.com/office/powerpoint/2010/main" val="717122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zwei Bildern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5"/>
          </p:nvPr>
        </p:nvSpPr>
        <p:spPr>
          <a:xfrm>
            <a:off x="720000" y="1861200"/>
            <a:ext cx="9018000" cy="720000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2826000"/>
            <a:ext cx="6098381" cy="36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332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098381" y="2826000"/>
            <a:ext cx="6096793" cy="36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332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9376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drei Bildern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r Verbinder 11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926000"/>
            <a:ext cx="41976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197600" y="1926000"/>
            <a:ext cx="3697200" cy="216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5"/>
          </p:nvPr>
        </p:nvSpPr>
        <p:spPr>
          <a:xfrm>
            <a:off x="4197600" y="4086000"/>
            <a:ext cx="3697200" cy="234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6696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175600" y="1861200"/>
            <a:ext cx="3481200" cy="4384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7949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mittlerem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926000"/>
            <a:ext cx="60444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332400" y="1861200"/>
            <a:ext cx="5324400" cy="4384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3624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breitem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926000"/>
            <a:ext cx="78912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175600" y="1861200"/>
            <a:ext cx="3481200" cy="4384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6921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20000" y="1861200"/>
            <a:ext cx="5324400" cy="4384800"/>
          </a:xfrm>
        </p:spPr>
        <p:txBody>
          <a:bodyPr/>
          <a:lstStyle>
            <a:lvl1pPr>
              <a:defRPr sz="2000"/>
            </a:lvl1pPr>
            <a:lvl2pPr marL="357188" indent="-357188">
              <a:buClr>
                <a:schemeClr val="tx1"/>
              </a:buClr>
              <a:buFont typeface="Arial" pitchFamily="34" charset="0"/>
              <a:buChar char="•"/>
              <a:defRPr sz="2000"/>
            </a:lvl2pPr>
            <a:lvl3pPr marL="712788" indent="-355600">
              <a:buFont typeface="Arial" pitchFamily="34" charset="0"/>
              <a:buChar char="–"/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32400" y="1861200"/>
            <a:ext cx="5324400" cy="4384800"/>
          </a:xfrm>
        </p:spPr>
        <p:txBody>
          <a:bodyPr/>
          <a:lstStyle>
            <a:lvl1pPr>
              <a:defRPr sz="2000"/>
            </a:lvl1pPr>
            <a:lvl2pPr marL="357188" indent="-357188">
              <a:buFont typeface="Arial" pitchFamily="34" charset="0"/>
              <a:buChar char="•"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0810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6237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1810800"/>
            <a:ext cx="7171200" cy="864000"/>
          </a:xfrm>
        </p:spPr>
        <p:txBody>
          <a:bodyPr/>
          <a:lstStyle>
            <a:lvl1pPr>
              <a:lnSpc>
                <a:spcPts val="6600"/>
              </a:lnSpc>
              <a:spcBef>
                <a:spcPts val="0"/>
              </a:spcBef>
              <a:defRPr sz="6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Vielen Dank!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2649050"/>
            <a:ext cx="7171200" cy="864000"/>
          </a:xfrm>
        </p:spPr>
        <p:txBody>
          <a:bodyPr/>
          <a:lstStyle>
            <a:lvl1pPr>
              <a:lnSpc>
                <a:spcPts val="6600"/>
              </a:lnSpc>
              <a:spcBef>
                <a:spcPts val="0"/>
              </a:spcBef>
              <a:defRPr sz="60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6934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chluß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000" y="2664000"/>
            <a:ext cx="3311869" cy="157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733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zweizeiligem 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03396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0" y="1663200"/>
            <a:ext cx="9018000" cy="1224000"/>
          </a:xfrm>
        </p:spPr>
        <p:txBody>
          <a:bodyPr/>
          <a:lstStyle>
            <a:lvl1pPr algn="l">
              <a:lnSpc>
                <a:spcPts val="4400"/>
              </a:lnSpc>
              <a:defRPr sz="4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0" y="2962800"/>
            <a:ext cx="9018000" cy="288000"/>
          </a:xfrm>
        </p:spPr>
        <p:txBody>
          <a:bodyPr/>
          <a:lstStyle>
            <a:lvl1pPr marL="0" indent="0" algn="l">
              <a:spcBef>
                <a:spcPts val="90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 oder Vortragender  |  YYYY-MM-DD  |  Schutzklasse 0 bis 3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3366000"/>
            <a:ext cx="12195175" cy="3492000"/>
          </a:xfrm>
          <a:solidFill>
            <a:schemeClr val="tx2">
              <a:lumMod val="20000"/>
              <a:lumOff val="80000"/>
            </a:schemeClr>
          </a:solidFill>
        </p:spPr>
        <p:txBody>
          <a:bodyPr tIns="1260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200" y="525012"/>
            <a:ext cx="1620000" cy="376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 userDrawn="1"/>
        </p:nvSpPr>
        <p:spPr>
          <a:xfrm>
            <a:off x="720000" y="482400"/>
            <a:ext cx="1444240" cy="2576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650" dirty="0" smtClean="0">
                <a:solidFill>
                  <a:schemeClr val="accent2"/>
                </a:solidFill>
              </a:rPr>
              <a:t>voith.com</a:t>
            </a:r>
          </a:p>
        </p:txBody>
      </p:sp>
    </p:spTree>
    <p:extLst>
      <p:ext uri="{BB962C8B-B14F-4D97-AF65-F5344CB8AC3E}">
        <p14:creationId xmlns:p14="http://schemas.microsoft.com/office/powerpoint/2010/main" val="487097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weißem Text auf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5175" cy="6429600"/>
          </a:xfrm>
          <a:solidFill>
            <a:schemeClr val="tx2">
              <a:lumMod val="20000"/>
              <a:lumOff val="80000"/>
            </a:schemeClr>
          </a:solidFill>
        </p:spPr>
        <p:txBody>
          <a:bodyPr tIns="2736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3355200"/>
            <a:ext cx="7171200" cy="1620000"/>
          </a:xfrm>
        </p:spPr>
        <p:txBody>
          <a:bodyPr anchor="t"/>
          <a:lstStyle>
            <a:lvl1pPr algn="l">
              <a:lnSpc>
                <a:spcPts val="3740"/>
              </a:lnSpc>
              <a:defRPr sz="3400" b="1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6770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Textbox auf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5175" cy="6429600"/>
          </a:xfrm>
          <a:solidFill>
            <a:schemeClr val="tx2">
              <a:lumMod val="20000"/>
              <a:lumOff val="80000"/>
            </a:schemeClr>
          </a:solidFill>
        </p:spPr>
        <p:txBody>
          <a:bodyPr tIns="2736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720000" y="4107600"/>
            <a:ext cx="7171200" cy="801653"/>
          </a:xfrm>
          <a:solidFill>
            <a:srgbClr val="FFFFFF">
              <a:alpha val="90000"/>
            </a:srgbClr>
          </a:solidFill>
          <a:ln>
            <a:noFill/>
          </a:ln>
        </p:spPr>
        <p:txBody>
          <a:bodyPr lIns="252000" tIns="187200" rIns="252000" bIns="136800">
            <a:spAutoFit/>
          </a:bodyPr>
          <a:lstStyle>
            <a:lvl1pPr>
              <a:lnSpc>
                <a:spcPts val="3740"/>
              </a:lnSpc>
              <a:spcBef>
                <a:spcPts val="0"/>
              </a:spcBef>
              <a:defRPr sz="3400" b="1"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4779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1861200"/>
            <a:ext cx="9018000" cy="4384800"/>
          </a:xfrm>
        </p:spPr>
        <p:txBody>
          <a:bodyPr/>
          <a:lstStyle>
            <a:lvl1pPr marL="421200" indent="-421200">
              <a:buFont typeface="+mj-lt"/>
              <a:buAutoNum type="arabicPeriod"/>
              <a:defRPr/>
            </a:lvl1pPr>
          </a:lstStyle>
          <a:p>
            <a:pPr lvl="0"/>
            <a:r>
              <a:rPr lang="de-DE" dirty="0" smtClean="0"/>
              <a:t>Automatische Aufzählung – Punkt nach der Ziffer</a:t>
            </a:r>
          </a:p>
          <a:p>
            <a:pPr lvl="0"/>
            <a:r>
              <a:rPr lang="de-DE" dirty="0" smtClean="0"/>
              <a:t>20 </a:t>
            </a:r>
            <a:r>
              <a:rPr lang="de-DE" dirty="0" err="1" smtClean="0"/>
              <a:t>pt</a:t>
            </a:r>
            <a:r>
              <a:rPr lang="de-DE" dirty="0" smtClean="0"/>
              <a:t> Fließtextschrift, Zeilenabstand 1,1 Zeilen</a:t>
            </a:r>
          </a:p>
          <a:p>
            <a:pPr lvl="0"/>
            <a:r>
              <a:rPr lang="de-DE" dirty="0" smtClean="0"/>
              <a:t>Maximal 9 Zeilen auf einer Gliederungsfolie</a:t>
            </a:r>
          </a:p>
          <a:p>
            <a:pPr lvl="0"/>
            <a:r>
              <a:rPr lang="de-DE" dirty="0" smtClean="0"/>
              <a:t>Hier werden die wesentlichen Inhaltsblöcke oder Kapitel</a:t>
            </a:r>
          </a:p>
          <a:p>
            <a:pPr lvl="0"/>
            <a:r>
              <a:rPr lang="de-DE" dirty="0" smtClean="0"/>
              <a:t>der Präsentation entsprechend ihrer Reihenfolge aufgezählt</a:t>
            </a:r>
          </a:p>
          <a:p>
            <a:pPr lvl="0"/>
            <a:r>
              <a:rPr lang="de-DE" dirty="0" smtClean="0"/>
              <a:t>Sechstes Thema</a:t>
            </a:r>
          </a:p>
          <a:p>
            <a:pPr lvl="0"/>
            <a:r>
              <a:rPr lang="de-DE" dirty="0" smtClean="0"/>
              <a:t>Siebtes Thema</a:t>
            </a:r>
          </a:p>
          <a:p>
            <a:pPr lvl="0"/>
            <a:r>
              <a:rPr lang="de-DE" dirty="0" smtClean="0"/>
              <a:t>Achtes Thema</a:t>
            </a:r>
          </a:p>
          <a:p>
            <a:pPr lvl="0"/>
            <a:r>
              <a:rPr lang="de-DE" dirty="0" smtClean="0"/>
              <a:t>Neuntes Thema</a:t>
            </a:r>
          </a:p>
        </p:txBody>
      </p:sp>
    </p:spTree>
    <p:extLst>
      <p:ext uri="{BB962C8B-B14F-4D97-AF65-F5344CB8AC3E}">
        <p14:creationId xmlns:p14="http://schemas.microsoft.com/office/powerpoint/2010/main" val="2702930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720000" y="1861200"/>
            <a:ext cx="9018000" cy="4384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004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smtClean="0"/>
              <a:t>Präsentationstitel  |  Ort oder Vortragender  |  YYYY-MM-DD  |  interner Gebrauch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2"/>
          </p:nvPr>
        </p:nvSpPr>
        <p:spPr>
          <a:xfrm>
            <a:off x="720000" y="1861200"/>
            <a:ext cx="9018000" cy="4024800"/>
          </a:xfrm>
        </p:spPr>
        <p:txBody>
          <a:bodyPr tIns="1548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Diagramm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103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smtClean="0"/>
              <a:t>Präsentationstitel  |  Ort oder Vortragender  |  YYYY-MM-DD  |  interner Gebrauch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abellenplatzhalter 5"/>
          <p:cNvSpPr>
            <a:spLocks noGrp="1"/>
          </p:cNvSpPr>
          <p:nvPr>
            <p:ph type="tbl" sz="quarter" idx="12"/>
          </p:nvPr>
        </p:nvSpPr>
        <p:spPr>
          <a:xfrm>
            <a:off x="720000" y="1861200"/>
            <a:ext cx="10936800" cy="4384800"/>
          </a:xfrm>
        </p:spPr>
        <p:txBody>
          <a:bodyPr tIns="1710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Tabelle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49726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groß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926000"/>
            <a:ext cx="12195175" cy="4500000"/>
          </a:xfrm>
          <a:solidFill>
            <a:schemeClr val="tx2">
              <a:lumMod val="20000"/>
              <a:lumOff val="80000"/>
            </a:schemeClr>
          </a:solidFill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</a:p>
          <a:p>
            <a:endParaRPr lang="de-DE" dirty="0" smtClean="0"/>
          </a:p>
          <a:p>
            <a:endParaRPr lang="de-DE" dirty="0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9018000" cy="864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4826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9018000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000" y="1861200"/>
            <a:ext cx="9018000" cy="438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20000" y="6577200"/>
            <a:ext cx="9018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Präsentationstitel  |  Ort oder Vortragender  |  YYYY-MM-DD  |  Schutzklasse 0 bis 3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56800" y="6577200"/>
            <a:ext cx="90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fld id="{08D23EDE-C003-4E9D-A56A-61B3BF8C8EF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VoithPresentationInfo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0" y="6197600"/>
            <a:ext cx="728323" cy="279400"/>
          </a:xfrm>
          <a:prstGeom prst="rect">
            <a:avLst/>
          </a:prstGeom>
          <a:solidFill>
            <a:srgbClr val="D2D2D2"/>
          </a:solidFill>
          <a:ln w="9525" algn="ctr">
            <a:solidFill>
              <a:srgbClr val="D2D2D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de-DE"/>
          </a:p>
        </p:txBody>
      </p:sp>
      <p:sp>
        <p:nvSpPr>
          <p:cNvPr id="22" name="Folie Wechsel/Zurücksetzen/Textebenen"/>
          <p:cNvSpPr txBox="1"/>
          <p:nvPr/>
        </p:nvSpPr>
        <p:spPr>
          <a:xfrm rot="10800000" flipH="1" flipV="1">
            <a:off x="-2085975" y="515767"/>
            <a:ext cx="1958926" cy="4912066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b="1" baseline="0" dirty="0" smtClean="0">
                <a:solidFill>
                  <a:schemeClr val="tx2"/>
                </a:solidFill>
                <a:latin typeface="+mn-lt"/>
              </a:rPr>
              <a:t>Akzentfarbe</a:t>
            </a:r>
            <a:br>
              <a:rPr lang="de-DE" sz="1000" b="1" baseline="0" dirty="0" smtClean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>der Präsentation ändern in: </a:t>
            </a:r>
            <a:br>
              <a:rPr lang="de-DE" sz="1000" b="0" baseline="0" dirty="0" smtClean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>Voith &gt; Accent Color</a:t>
            </a:r>
            <a:endParaRPr lang="de-DE" sz="1000" b="0" dirty="0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500" b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____________________________________________________</a:t>
            </a:r>
          </a:p>
          <a:p>
            <a:pPr marL="0" marR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500" b="0" baseline="0" dirty="0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b="1" baseline="0" dirty="0" smtClean="0">
                <a:solidFill>
                  <a:schemeClr val="tx2"/>
                </a:solidFill>
                <a:latin typeface="+mn-lt"/>
              </a:rPr>
              <a:t>Tabellen</a:t>
            </a:r>
            <a:br>
              <a:rPr lang="de-DE" sz="1000" b="1" baseline="0" dirty="0" smtClean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>an das Voith Design anpassen in: </a:t>
            </a:r>
            <a:br>
              <a:rPr lang="de-DE" sz="1000" b="0" baseline="0" dirty="0" smtClean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>Voith &gt; Table Layout</a:t>
            </a:r>
            <a:endParaRPr lang="de-DE" sz="1100" b="0" dirty="0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marL="0" marR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500" b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____________________________________________________</a:t>
            </a:r>
          </a:p>
          <a:p>
            <a:pPr marL="0" marR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500" b="0" baseline="0" dirty="0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b="1" baseline="0" dirty="0" smtClean="0">
                <a:solidFill>
                  <a:schemeClr val="tx2"/>
                </a:solidFill>
                <a:latin typeface="+mn-lt"/>
              </a:rPr>
              <a:t>Layout Linien</a:t>
            </a:r>
            <a:br>
              <a:rPr lang="de-DE" sz="1000" b="1" baseline="0" dirty="0" smtClean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>ein- und ausblenden in: </a:t>
            </a:r>
            <a:br>
              <a:rPr lang="de-DE" sz="1000" b="0" baseline="0" dirty="0" smtClean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>Voith &gt; Layout Grid on/off</a:t>
            </a:r>
            <a:endParaRPr lang="de-DE" sz="1100" b="0" dirty="0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____________________________________________________</a:t>
            </a:r>
            <a:br>
              <a:rPr kumimoji="0" lang="de-DE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de-DE" sz="5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b="1" baseline="0" dirty="0" smtClean="0">
                <a:solidFill>
                  <a:schemeClr val="tx2"/>
                </a:solidFill>
                <a:latin typeface="+mn-lt"/>
              </a:rPr>
              <a:t>Diagramme</a:t>
            </a:r>
            <a:br>
              <a:rPr lang="de-DE" sz="1000" b="1" baseline="0" dirty="0" smtClean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>im Voith Design einfügen von: </a:t>
            </a:r>
            <a:br>
              <a:rPr lang="de-DE" sz="1000" b="0" baseline="0" dirty="0" smtClean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>Einfügen &gt; Diagramm &gt; Vorlagen</a:t>
            </a:r>
            <a:endParaRPr lang="de-DE" sz="1400" b="0" dirty="0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____________________________________________________</a:t>
            </a:r>
            <a:br>
              <a:rPr kumimoji="0" lang="de-DE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de-DE" sz="5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baseline="0" dirty="0" smtClean="0">
                <a:solidFill>
                  <a:schemeClr val="tx2"/>
                </a:solidFill>
                <a:latin typeface="+mn-lt"/>
              </a:rPr>
              <a:t>Fußzeile</a:t>
            </a: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/>
            </a:r>
            <a:br>
              <a:rPr lang="de-DE" sz="1000" b="0" baseline="0" dirty="0" smtClean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>pro Folie und für </a:t>
            </a:r>
            <a:br>
              <a:rPr lang="de-DE" sz="1000" b="0" baseline="0" dirty="0" smtClean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>alle Folien anpassen in: </a:t>
            </a:r>
            <a:br>
              <a:rPr lang="de-DE" sz="1000" b="0" baseline="0" dirty="0" smtClean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 smtClean="0">
                <a:solidFill>
                  <a:schemeClr val="tx2"/>
                </a:solidFill>
                <a:latin typeface="+mn-lt"/>
              </a:rPr>
              <a:t>Einfügen &gt; Text &gt; Kopf- und Fußzeile</a:t>
            </a:r>
            <a:endParaRPr kumimoji="0" lang="de-DE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____________________________________________________</a:t>
            </a:r>
            <a:br>
              <a:rPr kumimoji="0" lang="de-DE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de-DE" sz="5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lienlayout</a:t>
            </a:r>
            <a:endParaRPr lang="de-DE" sz="1000" b="0" baseline="0" dirty="0" smtClean="0">
              <a:solidFill>
                <a:schemeClr val="tx2"/>
              </a:solidFill>
              <a:latin typeface="+mn-lt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echseln über:</a:t>
            </a:r>
            <a:b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art &gt; Folien &gt; Layout</a:t>
            </a:r>
            <a:endParaRPr kumimoji="0" lang="de-DE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____________________________________________________</a:t>
            </a:r>
            <a:br>
              <a:rPr kumimoji="0" lang="de-DE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de-DE" sz="5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fzählung Einzug vergrößern</a:t>
            </a: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t + Umschalttaste + nach rechts</a:t>
            </a: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fzählung Einzug verkleinern</a:t>
            </a: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t + Umschalttaste + nach links</a:t>
            </a: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000" b="0" baseline="0" dirty="0" smtClean="0">
              <a:solidFill>
                <a:schemeClr val="tx2"/>
              </a:solidFill>
              <a:latin typeface="+mn-lt"/>
            </a:endParaRPr>
          </a:p>
          <a:p>
            <a:pPr marL="0" marR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000" b="0" baseline="0" dirty="0" smtClean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61" name="VoithGrid" hidden="1"/>
          <p:cNvGrpSpPr/>
          <p:nvPr/>
        </p:nvGrpSpPr>
        <p:grpSpPr>
          <a:xfrm>
            <a:off x="0" y="0"/>
            <a:ext cx="12195175" cy="6858000"/>
            <a:chOff x="0" y="0"/>
            <a:chExt cx="12195175" cy="6858000"/>
          </a:xfrm>
        </p:grpSpPr>
        <p:cxnSp>
          <p:nvCxnSpPr>
            <p:cNvPr id="62" name="Gerader Verbinder 61" hidden="1"/>
            <p:cNvCxnSpPr/>
            <p:nvPr/>
          </p:nvCxnSpPr>
          <p:spPr>
            <a:xfrm>
              <a:off x="720001" y="6426000"/>
              <a:ext cx="10936799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 hidden="1"/>
            <p:cNvCxnSpPr/>
            <p:nvPr/>
          </p:nvCxnSpPr>
          <p:spPr>
            <a:xfrm>
              <a:off x="0" y="538163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 hidden="1"/>
            <p:cNvCxnSpPr/>
            <p:nvPr/>
          </p:nvCxnSpPr>
          <p:spPr>
            <a:xfrm>
              <a:off x="0" y="1860550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 hidden="1"/>
            <p:cNvCxnSpPr/>
            <p:nvPr/>
          </p:nvCxnSpPr>
          <p:spPr>
            <a:xfrm>
              <a:off x="0" y="1927225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 hidden="1"/>
            <p:cNvCxnSpPr/>
            <p:nvPr/>
          </p:nvCxnSpPr>
          <p:spPr>
            <a:xfrm>
              <a:off x="0" y="6427788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 hidden="1"/>
            <p:cNvCxnSpPr/>
            <p:nvPr/>
          </p:nvCxnSpPr>
          <p:spPr>
            <a:xfrm>
              <a:off x="719138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 hidden="1"/>
            <p:cNvCxnSpPr/>
            <p:nvPr/>
          </p:nvCxnSpPr>
          <p:spPr>
            <a:xfrm>
              <a:off x="23508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 hidden="1"/>
            <p:cNvCxnSpPr/>
            <p:nvPr/>
          </p:nvCxnSpPr>
          <p:spPr>
            <a:xfrm>
              <a:off x="26388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 hidden="1"/>
            <p:cNvCxnSpPr/>
            <p:nvPr/>
          </p:nvCxnSpPr>
          <p:spPr>
            <a:xfrm>
              <a:off x="4194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 hidden="1"/>
            <p:cNvCxnSpPr/>
            <p:nvPr/>
          </p:nvCxnSpPr>
          <p:spPr>
            <a:xfrm>
              <a:off x="44856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 hidden="1"/>
            <p:cNvCxnSpPr/>
            <p:nvPr/>
          </p:nvCxnSpPr>
          <p:spPr>
            <a:xfrm>
              <a:off x="60444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 hidden="1"/>
            <p:cNvCxnSpPr/>
            <p:nvPr/>
          </p:nvCxnSpPr>
          <p:spPr>
            <a:xfrm>
              <a:off x="63324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 hidden="1"/>
            <p:cNvCxnSpPr/>
            <p:nvPr/>
          </p:nvCxnSpPr>
          <p:spPr>
            <a:xfrm>
              <a:off x="78912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 hidden="1"/>
            <p:cNvCxnSpPr/>
            <p:nvPr/>
          </p:nvCxnSpPr>
          <p:spPr>
            <a:xfrm>
              <a:off x="81792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 hidden="1"/>
            <p:cNvCxnSpPr/>
            <p:nvPr/>
          </p:nvCxnSpPr>
          <p:spPr>
            <a:xfrm>
              <a:off x="9738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 hidden="1"/>
            <p:cNvCxnSpPr/>
            <p:nvPr/>
          </p:nvCxnSpPr>
          <p:spPr>
            <a:xfrm>
              <a:off x="10026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 hidden="1"/>
            <p:cNvCxnSpPr/>
            <p:nvPr/>
          </p:nvCxnSpPr>
          <p:spPr>
            <a:xfrm>
              <a:off x="11657013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65170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4" r:id="rId2"/>
    <p:sldLayoutId id="2147483663" r:id="rId3"/>
    <p:sldLayoutId id="2147483672" r:id="rId4"/>
    <p:sldLayoutId id="2147483680" r:id="rId5"/>
    <p:sldLayoutId id="2147483662" r:id="rId6"/>
    <p:sldLayoutId id="2147483681" r:id="rId7"/>
    <p:sldLayoutId id="2147483682" r:id="rId8"/>
    <p:sldLayoutId id="2147483673" r:id="rId9"/>
    <p:sldLayoutId id="2147483676" r:id="rId10"/>
    <p:sldLayoutId id="2147483669" r:id="rId11"/>
    <p:sldLayoutId id="2147483678" r:id="rId12"/>
    <p:sldLayoutId id="2147483679" r:id="rId13"/>
    <p:sldLayoutId id="2147483664" r:id="rId14"/>
    <p:sldLayoutId id="2147483667" r:id="rId15"/>
    <p:sldLayoutId id="2147483671" r:id="rId16"/>
    <p:sldLayoutId id="2147483670" r:id="rId1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308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2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DYNAMO</a:t>
            </a:r>
            <a:br>
              <a:rPr lang="de-DE" dirty="0" smtClean="0">
                <a:solidFill>
                  <a:schemeClr val="accent2"/>
                </a:solidFill>
              </a:rPr>
            </a:br>
            <a:r>
              <a:rPr lang="de-DE" dirty="0" smtClean="0">
                <a:solidFill>
                  <a:schemeClr val="accent2"/>
                </a:solidFill>
              </a:rPr>
              <a:t>Parameterfindung</a:t>
            </a:r>
            <a:br>
              <a:rPr lang="de-DE" dirty="0" smtClean="0">
                <a:solidFill>
                  <a:schemeClr val="accent2"/>
                </a:solidFill>
              </a:rPr>
            </a:br>
            <a:r>
              <a:rPr lang="de-DE" dirty="0" smtClean="0">
                <a:solidFill>
                  <a:schemeClr val="accent2"/>
                </a:solidFill>
              </a:rPr>
              <a:t>Testbeispiel „</a:t>
            </a:r>
            <a:r>
              <a:rPr lang="de-DE" dirty="0" err="1" smtClean="0">
                <a:solidFill>
                  <a:schemeClr val="accent2"/>
                </a:solidFill>
              </a:rPr>
              <a:t>SimpleHull</a:t>
            </a:r>
            <a:r>
              <a:rPr lang="de-DE" dirty="0" smtClean="0">
                <a:solidFill>
                  <a:schemeClr val="accent2"/>
                </a:solidFill>
              </a:rPr>
              <a:t>“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2018-07-12  |  David Bend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2772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D:\Projekte\DYNAMO\Parameterfindung\Test_Simple_Hull\Baseline_Side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413" b="40057"/>
          <a:stretch/>
        </p:blipFill>
        <p:spPr bwMode="auto">
          <a:xfrm>
            <a:off x="533298" y="1651000"/>
            <a:ext cx="8280000" cy="187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eometry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aseline</a:t>
            </a:r>
            <a:endParaRPr lang="de-DE" dirty="0"/>
          </a:p>
        </p:txBody>
      </p:sp>
      <p:pic>
        <p:nvPicPr>
          <p:cNvPr id="3075" name="Picture 3" descr="D:\Projekte\DYNAMO\Parameterfindung\Test_Simple_Hull\Baseline_Botton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16" b="34534"/>
          <a:stretch/>
        </p:blipFill>
        <p:spPr bwMode="auto">
          <a:xfrm>
            <a:off x="533298" y="3530601"/>
            <a:ext cx="8280000" cy="2667000"/>
          </a:xfrm>
          <a:prstGeom prst="rect">
            <a:avLst/>
          </a:prstGeom>
          <a:noFill/>
          <a:scene3d>
            <a:camera prst="orthographicFront">
              <a:rot lat="0" lon="0" rev="1080000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D:\Projekte\DYNAMO\Parameterfindung\Test_Simple_Hull\Baseline_Bow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450" y="1346400"/>
            <a:ext cx="2340000" cy="2467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D:\Projekte\DYNAMO\Parameterfindung\Test_Simple_Hull\Baseline_DesignVariables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119"/>
          <a:stretch/>
        </p:blipFill>
        <p:spPr bwMode="auto">
          <a:xfrm>
            <a:off x="9442451" y="3913188"/>
            <a:ext cx="2340000" cy="2105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Ellipse 6"/>
          <p:cNvSpPr/>
          <p:nvPr/>
        </p:nvSpPr>
        <p:spPr>
          <a:xfrm>
            <a:off x="7810500" y="2844600"/>
            <a:ext cx="330400" cy="330400"/>
          </a:xfrm>
          <a:prstGeom prst="ellipse">
            <a:avLst/>
          </a:prstGeom>
          <a:noFill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Ellipse 11"/>
          <p:cNvSpPr/>
          <p:nvPr/>
        </p:nvSpPr>
        <p:spPr>
          <a:xfrm>
            <a:off x="6654800" y="4063800"/>
            <a:ext cx="330400" cy="330400"/>
          </a:xfrm>
          <a:prstGeom prst="ellipse">
            <a:avLst/>
          </a:prstGeom>
          <a:noFill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2169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eometry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E01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3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098" name="Picture 2" descr="D:\Projekte\DYNAMO\Parameterfindung\Test_Simple_Hull\E01_Bottom.png"/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972" b="35517"/>
          <a:stretch/>
        </p:blipFill>
        <p:spPr bwMode="auto">
          <a:xfrm>
            <a:off x="533400" y="3708400"/>
            <a:ext cx="8280400" cy="2400300"/>
          </a:xfrm>
          <a:prstGeom prst="rect">
            <a:avLst/>
          </a:prstGeom>
          <a:noFill/>
          <a:ln/>
          <a:scene3d>
            <a:camera prst="orthographicFront">
              <a:rot lat="0" lon="0" rev="1080000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D:\Projekte\DYNAMO\Parameterfindung\Test_Simple_Hull\E01_Side.png"/>
          <p:cNvPicPr>
            <a:picLocks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738" b="40757"/>
          <a:stretch/>
        </p:blipFill>
        <p:spPr bwMode="auto">
          <a:xfrm>
            <a:off x="533400" y="1765300"/>
            <a:ext cx="8280400" cy="1701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:\Projekte\DYNAMO\Parameterfindung\Test_Simple_Hull\E01_Bow.png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1346200"/>
            <a:ext cx="2336800" cy="2463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/>
          <p:cNvPicPr>
            <a:picLocks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255"/>
          <a:stretch/>
        </p:blipFill>
        <p:spPr bwMode="auto">
          <a:xfrm>
            <a:off x="9448799" y="3911599"/>
            <a:ext cx="2336801" cy="210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0510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urface </a:t>
            </a:r>
            <a:r>
              <a:rPr lang="de-DE" dirty="0" err="1" smtClean="0"/>
              <a:t>Mesh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E01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äsentationstitel  |  Ort oder Vortragender  |  YYYY-MM-DD  |  interner Gebrauch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4</a:t>
            </a:fld>
            <a:endParaRPr lang="de-DE"/>
          </a:p>
        </p:txBody>
      </p:sp>
      <p:pic>
        <p:nvPicPr>
          <p:cNvPr id="5122" name="Picture 2" descr="D:\Projekte\DYNAMO\Parameterfindung\Test_Simple_Hull\E01_Mesh_Coars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00" y="2070780"/>
            <a:ext cx="3960000" cy="417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D:\Projekte\DYNAMO\Parameterfindung\Test_Simple_Hull\E01_Mesh_Medium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050" y="2070781"/>
            <a:ext cx="3960000" cy="417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D:\Projekte\DYNAMO\Parameterfindung\Test_Simple_Hull\E01_Mesh_Fin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5175" y="2070781"/>
            <a:ext cx="3960000" cy="417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4772800" y="2569746"/>
            <a:ext cx="2391950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2000" dirty="0" smtClean="0"/>
              <a:t>medium</a:t>
            </a:r>
            <a:endParaRPr lang="de-DE" sz="2000" dirty="0" smtClean="0"/>
          </a:p>
        </p:txBody>
      </p:sp>
      <p:sp>
        <p:nvSpPr>
          <p:cNvPr id="12" name="Textfeld 11"/>
          <p:cNvSpPr txBox="1"/>
          <p:nvPr/>
        </p:nvSpPr>
        <p:spPr>
          <a:xfrm>
            <a:off x="772525" y="2573923"/>
            <a:ext cx="239195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2000" dirty="0" err="1" smtClean="0"/>
              <a:t>coarse</a:t>
            </a:r>
            <a:endParaRPr lang="de-DE" sz="2000" dirty="0" smtClean="0"/>
          </a:p>
        </p:txBody>
      </p:sp>
      <p:sp>
        <p:nvSpPr>
          <p:cNvPr id="13" name="Textfeld 12"/>
          <p:cNvSpPr txBox="1"/>
          <p:nvPr/>
        </p:nvSpPr>
        <p:spPr>
          <a:xfrm>
            <a:off x="8925925" y="2543522"/>
            <a:ext cx="2391950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2000" dirty="0" err="1" smtClean="0"/>
              <a:t>fine</a:t>
            </a: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val="40125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8454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OITHPPTTEMPLATEVERSIONMAJOR" val="6"/>
  <p:tag name="VOITHPPTTEMPLATEVERSIONMINOR" val="0"/>
  <p:tag name="VOITHPPTTEMPLATEVALIDADDINVERSIONS" val="4"/>
  <p:tag name="VOITHPPTTEMPLATELANGUAGE" val="de"/>
  <p:tag name="VOITHPPTTEMPLATELASTUPDATE" val="2018-01-26"/>
  <p:tag name="VOITHPRASENTATIONFORMAT" val="16: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ith">
  <a:themeElements>
    <a:clrScheme name="Voith Cornflower">
      <a:dk1>
        <a:srgbClr val="000000"/>
      </a:dk1>
      <a:lt1>
        <a:srgbClr val="FFFFFF"/>
      </a:lt1>
      <a:dk2>
        <a:srgbClr val="7F7F7F"/>
      </a:dk2>
      <a:lt2>
        <a:srgbClr val="ABB3C8"/>
      </a:lt2>
      <a:accent1>
        <a:srgbClr val="2D4275"/>
      </a:accent1>
      <a:accent2>
        <a:srgbClr val="1F82C0"/>
      </a:accent2>
      <a:accent3>
        <a:srgbClr val="89BA17"/>
      </a:accent3>
      <a:accent4>
        <a:srgbClr val="28B9DA"/>
      </a:accent4>
      <a:accent5>
        <a:srgbClr val="E96091"/>
      </a:accent5>
      <a:accent6>
        <a:srgbClr val="818EAC"/>
      </a:accent6>
      <a:hlink>
        <a:srgbClr val="7F7F7F"/>
      </a:hlink>
      <a:folHlink>
        <a:srgbClr val="2D4275"/>
      </a:folHlink>
    </a:clrScheme>
    <a:fontScheme name="Voi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larhei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1200"/>
          </a:spcBef>
          <a:defRPr sz="200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ith</Template>
  <TotalTime>0</TotalTime>
  <Words>34</Words>
  <Application>Microsoft Office PowerPoint</Application>
  <PresentationFormat>Benutzerdefiniert</PresentationFormat>
  <Paragraphs>12</Paragraphs>
  <Slides>5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7" baseType="lpstr">
      <vt:lpstr>Voith</vt:lpstr>
      <vt:lpstr>think-cell Folie</vt:lpstr>
      <vt:lpstr>DYNAMO Parameterfindung Testbeispiel „SimpleHull“</vt:lpstr>
      <vt:lpstr>Geometry Baseline</vt:lpstr>
      <vt:lpstr>Geometry E01</vt:lpstr>
      <vt:lpstr>Surface Mesh E01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titel ohne Bild  Arial Bold, 40 pt in drei Zeilen Kontextzeile in Akzentfarbe</dc:title>
  <dc:creator>Bendl, David</dc:creator>
  <cp:lastModifiedBy>Bendl, David</cp:lastModifiedBy>
  <cp:revision>390</cp:revision>
  <dcterms:created xsi:type="dcterms:W3CDTF">2011-11-25T11:59:37Z</dcterms:created>
  <dcterms:modified xsi:type="dcterms:W3CDTF">2018-07-12T08:47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otectionClass">
    <vt:lpwstr>for internal use</vt:lpwstr>
  </property>
</Properties>
</file>